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8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1B-492A-B3EB-8225376AF0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11-4857-BEE3-E4D73E9784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11-4857-BEE3-E4D73E97840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11-4857-BEE3-E4D73E9784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7E7631-6961-FFA6-B0E5-99F9AE5279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06BC33C-E631-051B-DACA-FB06D0788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6BC33C-E631-051B-DACA-FB06D0788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58A2C56F-0534-F2BD-0FF5-413CC12A6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Column /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3B96359-E791-C131-348B-19FCC4EF4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D2470C4-54A1-02B6-166D-624E030E86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07E2F9B-A22A-1BB8-3754-B7322B3EF9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0FEC573-6018-D962-B99A-8B8EDBAFF7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9" name="Chart Placeholder 12">
            <a:extLst>
              <a:ext uri="{FF2B5EF4-FFF2-40B4-BE49-F238E27FC236}">
                <a16:creationId xmlns:a16="http://schemas.microsoft.com/office/drawing/2014/main" id="{3007E1EB-84F6-1F31-CB67-74D5D0155A41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D34DF0D2-8D37-38FE-E1C1-C644FC67252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39575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3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Column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4</cp:revision>
  <dcterms:created xsi:type="dcterms:W3CDTF">2025-07-09T10:57:17Z</dcterms:created>
  <dcterms:modified xsi:type="dcterms:W3CDTF">2025-10-22T10:07:48Z</dcterms:modified>
  <cp:category/>
</cp:coreProperties>
</file>